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4"/>
  </p:notesMasterIdLst>
  <p:handoutMasterIdLst>
    <p:handoutMasterId r:id="rId5"/>
  </p:handoutMasterIdLst>
  <p:sldIdLst>
    <p:sldId id="3287" r:id="rId2"/>
    <p:sldId id="3655" r:id="rId3"/>
  </p:sldIdLst>
  <p:sldSz cx="9144000" cy="6858000" type="screen4x3"/>
  <p:notesSz cx="6858000" cy="99266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7" userDrawn="1">
          <p15:clr>
            <a:srgbClr val="A4A3A4"/>
          </p15:clr>
        </p15:guide>
        <p15:guide id="2" pos="2955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作者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12647F"/>
    <a:srgbClr val="7373FF"/>
    <a:srgbClr val="34B4AE"/>
    <a:srgbClr val="00DAD0"/>
    <a:srgbClr val="011C2B"/>
    <a:srgbClr val="BEE97A"/>
    <a:srgbClr val="7FC70B"/>
    <a:srgbClr val="778B57"/>
    <a:srgbClr val="475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6" autoAdjust="0"/>
    <p:restoredTop sz="93861" autoAdjust="0"/>
  </p:normalViewPr>
  <p:slideViewPr>
    <p:cSldViewPr snapToGrid="0" snapToObjects="1">
      <p:cViewPr varScale="1">
        <p:scale>
          <a:sx n="69" d="100"/>
          <a:sy n="69" d="100"/>
        </p:scale>
        <p:origin x="1320" y="78"/>
      </p:cViewPr>
      <p:guideLst>
        <p:guide orient="horz" pos="2160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56"/>
    </p:cViewPr>
  </p:sorterViewPr>
  <p:notesViewPr>
    <p:cSldViewPr snapToGrid="0" snapToObjects="1">
      <p:cViewPr varScale="1">
        <p:scale>
          <a:sx n="53" d="100"/>
          <a:sy n="53" d="100"/>
        </p:scale>
        <p:origin x="2652" y="45"/>
      </p:cViewPr>
      <p:guideLst>
        <p:guide orient="horz" pos="4677"/>
        <p:guide pos="2955"/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DCAEC4-EBC0-4D24-916E-D38ABD7221B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EC88A5D-A607-466E-A86C-A284FD70E6B5}">
      <dgm:prSet phldrT="[Text]"/>
      <dgm:spPr/>
      <dgm:t>
        <a:bodyPr/>
        <a:lstStyle/>
        <a:p>
          <a:r>
            <a:rPr lang="en-US" dirty="0" smtClean="0"/>
            <a:t>Plan</a:t>
          </a:r>
          <a:endParaRPr lang="en-US" dirty="0"/>
        </a:p>
      </dgm:t>
    </dgm:pt>
    <dgm:pt modelId="{C6CE8611-E5C5-48FA-AD56-0DD855D5C6FF}" type="parTrans" cxnId="{78A7DD39-7238-432E-928C-67602D157A1F}">
      <dgm:prSet/>
      <dgm:spPr/>
      <dgm:t>
        <a:bodyPr/>
        <a:lstStyle/>
        <a:p>
          <a:endParaRPr lang="en-US"/>
        </a:p>
      </dgm:t>
    </dgm:pt>
    <dgm:pt modelId="{D3AA2BEC-D2E7-4387-AE2A-4A02B4CAA281}" type="sibTrans" cxnId="{78A7DD39-7238-432E-928C-67602D157A1F}">
      <dgm:prSet/>
      <dgm:spPr/>
      <dgm:t>
        <a:bodyPr/>
        <a:lstStyle/>
        <a:p>
          <a:endParaRPr lang="en-US"/>
        </a:p>
      </dgm:t>
    </dgm:pt>
    <dgm:pt modelId="{862F260E-CBAC-484B-82D1-F9B85C4995A6}">
      <dgm:prSet phldrT="[Text]"/>
      <dgm:spPr/>
      <dgm:t>
        <a:bodyPr/>
        <a:lstStyle/>
        <a:p>
          <a:r>
            <a:rPr lang="en-US" dirty="0" smtClean="0"/>
            <a:t>Design</a:t>
          </a:r>
          <a:endParaRPr lang="en-US" dirty="0"/>
        </a:p>
      </dgm:t>
    </dgm:pt>
    <dgm:pt modelId="{39CFC0C6-FE77-4E41-8D5C-2CFBD7285A50}" type="parTrans" cxnId="{B20DD3C9-C5D6-4306-A7A4-59EECB2BD945}">
      <dgm:prSet/>
      <dgm:spPr/>
      <dgm:t>
        <a:bodyPr/>
        <a:lstStyle/>
        <a:p>
          <a:endParaRPr lang="en-US"/>
        </a:p>
      </dgm:t>
    </dgm:pt>
    <dgm:pt modelId="{24C3BE57-7981-4ADD-8C31-5A19DD64E84A}" type="sibTrans" cxnId="{B20DD3C9-C5D6-4306-A7A4-59EECB2BD945}">
      <dgm:prSet/>
      <dgm:spPr/>
      <dgm:t>
        <a:bodyPr/>
        <a:lstStyle/>
        <a:p>
          <a:endParaRPr lang="en-US"/>
        </a:p>
      </dgm:t>
    </dgm:pt>
    <dgm:pt modelId="{4364891B-1561-485F-8885-623381ED5400}">
      <dgm:prSet phldrT="[Text]"/>
      <dgm:spPr/>
      <dgm:t>
        <a:bodyPr/>
        <a:lstStyle/>
        <a:p>
          <a:r>
            <a:rPr lang="en-US" dirty="0" smtClean="0"/>
            <a:t>Release</a:t>
          </a:r>
          <a:endParaRPr lang="en-US" dirty="0"/>
        </a:p>
      </dgm:t>
    </dgm:pt>
    <dgm:pt modelId="{D113289C-9B3D-4302-A0BB-67D4C8E53EFF}" type="parTrans" cxnId="{20334A0A-A042-4689-BAC2-A36F124CC678}">
      <dgm:prSet/>
      <dgm:spPr/>
      <dgm:t>
        <a:bodyPr/>
        <a:lstStyle/>
        <a:p>
          <a:endParaRPr lang="en-US"/>
        </a:p>
      </dgm:t>
    </dgm:pt>
    <dgm:pt modelId="{3AB21CA7-F016-41C0-A0E3-36F8434C29F3}" type="sibTrans" cxnId="{20334A0A-A042-4689-BAC2-A36F124CC678}">
      <dgm:prSet/>
      <dgm:spPr/>
      <dgm:t>
        <a:bodyPr/>
        <a:lstStyle/>
        <a:p>
          <a:endParaRPr lang="en-US"/>
        </a:p>
      </dgm:t>
    </dgm:pt>
    <dgm:pt modelId="{FEDAD1FE-B0B0-4746-89DC-154B9403D3FC}">
      <dgm:prSet phldrT="[Text]"/>
      <dgm:spPr/>
      <dgm:t>
        <a:bodyPr/>
        <a:lstStyle/>
        <a:p>
          <a:r>
            <a:rPr lang="en-US" dirty="0" smtClean="0"/>
            <a:t>Develop</a:t>
          </a:r>
          <a:endParaRPr lang="en-US" dirty="0"/>
        </a:p>
      </dgm:t>
    </dgm:pt>
    <dgm:pt modelId="{4E891D60-4F23-4141-8B32-EF3248052668}" type="parTrans" cxnId="{10B6C06B-431A-4059-9272-F430E0AD45C1}">
      <dgm:prSet/>
      <dgm:spPr/>
      <dgm:t>
        <a:bodyPr/>
        <a:lstStyle/>
        <a:p>
          <a:endParaRPr lang="en-US"/>
        </a:p>
      </dgm:t>
    </dgm:pt>
    <dgm:pt modelId="{C9DC4431-78AF-4441-B0D9-7033472A0C37}" type="sibTrans" cxnId="{10B6C06B-431A-4059-9272-F430E0AD45C1}">
      <dgm:prSet/>
      <dgm:spPr/>
      <dgm:t>
        <a:bodyPr/>
        <a:lstStyle/>
        <a:p>
          <a:endParaRPr lang="en-US"/>
        </a:p>
      </dgm:t>
    </dgm:pt>
    <dgm:pt modelId="{85AD0FCE-7641-4B12-A73E-160B8D73DD1A}">
      <dgm:prSet phldrT="[Text]"/>
      <dgm:spPr/>
      <dgm:t>
        <a:bodyPr/>
        <a:lstStyle/>
        <a:p>
          <a:r>
            <a:rPr lang="en-US" dirty="0" smtClean="0"/>
            <a:t>Verify</a:t>
          </a:r>
          <a:endParaRPr lang="en-US" dirty="0"/>
        </a:p>
      </dgm:t>
    </dgm:pt>
    <dgm:pt modelId="{77DE49C6-F5ED-4DF5-99ED-8D8B1E33360F}" type="parTrans" cxnId="{8C2E0391-FD4D-44A5-AAFE-D5DED21E3D62}">
      <dgm:prSet/>
      <dgm:spPr/>
      <dgm:t>
        <a:bodyPr/>
        <a:lstStyle/>
        <a:p>
          <a:endParaRPr lang="en-US"/>
        </a:p>
      </dgm:t>
    </dgm:pt>
    <dgm:pt modelId="{FAF6E0F9-EB32-4595-A5C4-0DB12470E668}" type="sibTrans" cxnId="{8C2E0391-FD4D-44A5-AAFE-D5DED21E3D62}">
      <dgm:prSet/>
      <dgm:spPr/>
      <dgm:t>
        <a:bodyPr/>
        <a:lstStyle/>
        <a:p>
          <a:endParaRPr lang="en-US"/>
        </a:p>
      </dgm:t>
    </dgm:pt>
    <dgm:pt modelId="{ED02A2C3-DDA2-4322-A2C1-270A08D7D6AB}">
      <dgm:prSet/>
      <dgm:spPr/>
      <dgm:t>
        <a:bodyPr/>
        <a:lstStyle/>
        <a:p>
          <a:r>
            <a:rPr lang="en-US" smtClean="0"/>
            <a:t>9/16/2020~9/30/2020</a:t>
          </a:r>
          <a:endParaRPr lang="en-US" dirty="0" smtClean="0"/>
        </a:p>
      </dgm:t>
    </dgm:pt>
    <dgm:pt modelId="{9A79B8C4-2286-4799-8F23-ACCE8BB90ACC}" type="parTrans" cxnId="{3D0B86FE-2906-4525-BD14-7C8A1519B578}">
      <dgm:prSet/>
      <dgm:spPr/>
      <dgm:t>
        <a:bodyPr/>
        <a:lstStyle/>
        <a:p>
          <a:endParaRPr lang="en-US"/>
        </a:p>
      </dgm:t>
    </dgm:pt>
    <dgm:pt modelId="{8AE343B6-8CC9-4E74-BBCE-8B3B636E468A}" type="sibTrans" cxnId="{3D0B86FE-2906-4525-BD14-7C8A1519B578}">
      <dgm:prSet/>
      <dgm:spPr/>
      <dgm:t>
        <a:bodyPr/>
        <a:lstStyle/>
        <a:p>
          <a:endParaRPr lang="en-US"/>
        </a:p>
      </dgm:t>
    </dgm:pt>
    <dgm:pt modelId="{64FA0A95-5E15-44C9-A5AB-716D6B11A0DF}">
      <dgm:prSet/>
      <dgm:spPr/>
      <dgm:t>
        <a:bodyPr/>
        <a:lstStyle/>
        <a:p>
          <a:r>
            <a:rPr lang="en-US" smtClean="0"/>
            <a:t>10/8/2020~10/24/2020</a:t>
          </a:r>
          <a:endParaRPr lang="en-US" dirty="0"/>
        </a:p>
      </dgm:t>
    </dgm:pt>
    <dgm:pt modelId="{C744E8A5-09C4-4B85-9185-88771E3492A0}" type="parTrans" cxnId="{D240B3EF-6CE0-4C13-A013-E1469D98A8AB}">
      <dgm:prSet/>
      <dgm:spPr/>
      <dgm:t>
        <a:bodyPr/>
        <a:lstStyle/>
        <a:p>
          <a:endParaRPr lang="en-US"/>
        </a:p>
      </dgm:t>
    </dgm:pt>
    <dgm:pt modelId="{C83452B1-20B6-4CB5-BAA6-58AB1E0C170C}" type="sibTrans" cxnId="{D240B3EF-6CE0-4C13-A013-E1469D98A8AB}">
      <dgm:prSet/>
      <dgm:spPr/>
      <dgm:t>
        <a:bodyPr/>
        <a:lstStyle/>
        <a:p>
          <a:endParaRPr lang="en-US"/>
        </a:p>
      </dgm:t>
    </dgm:pt>
    <dgm:pt modelId="{A140B7BA-4B6C-44B7-B720-9CA9C0C2B79C}">
      <dgm:prSet/>
      <dgm:spPr/>
      <dgm:t>
        <a:bodyPr/>
        <a:lstStyle/>
        <a:p>
          <a:r>
            <a:rPr lang="en-US" smtClean="0"/>
            <a:t>10/12/2020~12/5/2020</a:t>
          </a:r>
          <a:endParaRPr lang="en-US" dirty="0"/>
        </a:p>
      </dgm:t>
    </dgm:pt>
    <dgm:pt modelId="{2A158322-0681-4763-A81D-8D51599DBDE9}" type="parTrans" cxnId="{3B7B023C-DFDB-4A3F-BC5D-24959ABD62E3}">
      <dgm:prSet/>
      <dgm:spPr/>
      <dgm:t>
        <a:bodyPr/>
        <a:lstStyle/>
        <a:p>
          <a:endParaRPr lang="en-US"/>
        </a:p>
      </dgm:t>
    </dgm:pt>
    <dgm:pt modelId="{D8740F63-EA42-4597-A11A-90BF616485A4}" type="sibTrans" cxnId="{3B7B023C-DFDB-4A3F-BC5D-24959ABD62E3}">
      <dgm:prSet/>
      <dgm:spPr/>
      <dgm:t>
        <a:bodyPr/>
        <a:lstStyle/>
        <a:p>
          <a:endParaRPr lang="en-US"/>
        </a:p>
      </dgm:t>
    </dgm:pt>
    <dgm:pt modelId="{524CE19E-19F5-488A-AE23-C539F33436FB}">
      <dgm:prSet/>
      <dgm:spPr/>
      <dgm:t>
        <a:bodyPr/>
        <a:lstStyle/>
        <a:p>
          <a:r>
            <a:rPr lang="en-US" smtClean="0"/>
            <a:t>12/6/2020~12/23/2020</a:t>
          </a:r>
          <a:endParaRPr lang="en-US" dirty="0"/>
        </a:p>
      </dgm:t>
    </dgm:pt>
    <dgm:pt modelId="{A85886FC-7EE9-4C73-80EF-7531F42C98D9}" type="parTrans" cxnId="{9CD5420A-367F-4216-B980-C727FCDC3BDB}">
      <dgm:prSet/>
      <dgm:spPr/>
      <dgm:t>
        <a:bodyPr/>
        <a:lstStyle/>
        <a:p>
          <a:endParaRPr lang="en-US"/>
        </a:p>
      </dgm:t>
    </dgm:pt>
    <dgm:pt modelId="{6F57586A-30BE-4591-8DDC-4F97F9B9E37F}" type="sibTrans" cxnId="{9CD5420A-367F-4216-B980-C727FCDC3BDB}">
      <dgm:prSet/>
      <dgm:spPr/>
      <dgm:t>
        <a:bodyPr/>
        <a:lstStyle/>
        <a:p>
          <a:endParaRPr lang="en-US"/>
        </a:p>
      </dgm:t>
    </dgm:pt>
    <dgm:pt modelId="{683C5656-9562-4F29-BB88-FB61D7D121E4}">
      <dgm:prSet/>
      <dgm:spPr/>
      <dgm:t>
        <a:bodyPr/>
        <a:lstStyle/>
        <a:p>
          <a:r>
            <a:rPr lang="en-US" smtClean="0"/>
            <a:t>12/23/2020~12/31/2020</a:t>
          </a:r>
          <a:endParaRPr lang="en-US" dirty="0"/>
        </a:p>
      </dgm:t>
    </dgm:pt>
    <dgm:pt modelId="{C0C7ABF7-4F4A-4075-B1DD-FC680E7F3AB1}" type="parTrans" cxnId="{51D51A62-6CFA-4C51-A035-4868C0D51F75}">
      <dgm:prSet/>
      <dgm:spPr/>
      <dgm:t>
        <a:bodyPr/>
        <a:lstStyle/>
        <a:p>
          <a:endParaRPr lang="en-US"/>
        </a:p>
      </dgm:t>
    </dgm:pt>
    <dgm:pt modelId="{71EA6A58-A4C9-4C0D-A57E-B0D1F8A39E03}" type="sibTrans" cxnId="{51D51A62-6CFA-4C51-A035-4868C0D51F75}">
      <dgm:prSet/>
      <dgm:spPr/>
      <dgm:t>
        <a:bodyPr/>
        <a:lstStyle/>
        <a:p>
          <a:endParaRPr lang="en-US"/>
        </a:p>
      </dgm:t>
    </dgm:pt>
    <dgm:pt modelId="{2A3182FF-F8C3-47B1-AA55-B25EC493DA38}" type="pres">
      <dgm:prSet presAssocID="{64DCAEC4-EBC0-4D24-916E-D38ABD7221B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99EA8A3-94B6-4BDC-A71F-2646F9AA7EA6}" type="pres">
      <dgm:prSet presAssocID="{1EC88A5D-A607-466E-A86C-A284FD70E6B5}" presName="composite" presStyleCnt="0"/>
      <dgm:spPr/>
    </dgm:pt>
    <dgm:pt modelId="{EA434A79-DAE4-4EAE-BFB1-C4A581C6C4CB}" type="pres">
      <dgm:prSet presAssocID="{1EC88A5D-A607-466E-A86C-A284FD70E6B5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7AA3B0-A784-42C5-BA24-3954EFD7074B}" type="pres">
      <dgm:prSet presAssocID="{1EC88A5D-A607-466E-A86C-A284FD70E6B5}" presName="desTx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23E2DA-244C-4187-8769-A79F20B60B1F}" type="pres">
      <dgm:prSet presAssocID="{D3AA2BEC-D2E7-4387-AE2A-4A02B4CAA281}" presName="space" presStyleCnt="0"/>
      <dgm:spPr/>
    </dgm:pt>
    <dgm:pt modelId="{36A8860E-B551-4CE5-94ED-ABF749AA3198}" type="pres">
      <dgm:prSet presAssocID="{862F260E-CBAC-484B-82D1-F9B85C4995A6}" presName="composite" presStyleCnt="0"/>
      <dgm:spPr/>
    </dgm:pt>
    <dgm:pt modelId="{CA67DB91-BD35-4757-9D97-2DEFBEC0C57D}" type="pres">
      <dgm:prSet presAssocID="{862F260E-CBAC-484B-82D1-F9B85C4995A6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D7C9C5-80D3-4C64-9B9F-406002F8E36D}" type="pres">
      <dgm:prSet presAssocID="{862F260E-CBAC-484B-82D1-F9B85C4995A6}" presName="desTx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81C460-D129-46CD-88BD-69B32F0C256B}" type="pres">
      <dgm:prSet presAssocID="{24C3BE57-7981-4ADD-8C31-5A19DD64E84A}" presName="space" presStyleCnt="0"/>
      <dgm:spPr/>
    </dgm:pt>
    <dgm:pt modelId="{C1A39731-6C8A-4A95-94C6-6562E65AE5A1}" type="pres">
      <dgm:prSet presAssocID="{FEDAD1FE-B0B0-4746-89DC-154B9403D3FC}" presName="composite" presStyleCnt="0"/>
      <dgm:spPr/>
    </dgm:pt>
    <dgm:pt modelId="{493017FB-3761-4939-B913-DADC5DE3A20B}" type="pres">
      <dgm:prSet presAssocID="{FEDAD1FE-B0B0-4746-89DC-154B9403D3FC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25FB36-CF07-46F7-8141-ECB1ECFD9F3F}" type="pres">
      <dgm:prSet presAssocID="{FEDAD1FE-B0B0-4746-89DC-154B9403D3FC}" presName="desTx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8B31CA-A6CC-4CE3-9249-7A913F68B366}" type="pres">
      <dgm:prSet presAssocID="{C9DC4431-78AF-4441-B0D9-7033472A0C37}" presName="space" presStyleCnt="0"/>
      <dgm:spPr/>
    </dgm:pt>
    <dgm:pt modelId="{8F1C3BB1-2D67-4ED9-AA13-A8F2340E84BF}" type="pres">
      <dgm:prSet presAssocID="{85AD0FCE-7641-4B12-A73E-160B8D73DD1A}" presName="composite" presStyleCnt="0"/>
      <dgm:spPr/>
    </dgm:pt>
    <dgm:pt modelId="{6B5DD153-8F33-4074-A548-37E2A0C06D61}" type="pres">
      <dgm:prSet presAssocID="{85AD0FCE-7641-4B12-A73E-160B8D73DD1A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5C6CE6-AFC6-4C85-8FA2-553B79E44CC0}" type="pres">
      <dgm:prSet presAssocID="{85AD0FCE-7641-4B12-A73E-160B8D73DD1A}" presName="desTx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0F7061-3536-4C69-925D-F620453D8E25}" type="pres">
      <dgm:prSet presAssocID="{FAF6E0F9-EB32-4595-A5C4-0DB12470E668}" presName="space" presStyleCnt="0"/>
      <dgm:spPr/>
    </dgm:pt>
    <dgm:pt modelId="{DFC4F836-3438-49AD-A78C-756BBEB9D352}" type="pres">
      <dgm:prSet presAssocID="{4364891B-1561-485F-8885-623381ED5400}" presName="composite" presStyleCnt="0"/>
      <dgm:spPr/>
    </dgm:pt>
    <dgm:pt modelId="{4DFA2FBF-2F28-4675-B175-CA90F1C93144}" type="pres">
      <dgm:prSet presAssocID="{4364891B-1561-485F-8885-623381ED5400}" presName="par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D0D2CC-E1B9-4BAF-902B-BB30B1E8C5C5}" type="pres">
      <dgm:prSet presAssocID="{4364891B-1561-485F-8885-623381ED5400}" presName="desTx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89E7CDE-1FFE-4A39-BD54-143903469664}" type="presOf" srcId="{64DCAEC4-EBC0-4D24-916E-D38ABD7221BB}" destId="{2A3182FF-F8C3-47B1-AA55-B25EC493DA38}" srcOrd="0" destOrd="0" presId="urn:microsoft.com/office/officeart/2005/8/layout/chevron1"/>
    <dgm:cxn modelId="{B20DD3C9-C5D6-4306-A7A4-59EECB2BD945}" srcId="{64DCAEC4-EBC0-4D24-916E-D38ABD7221BB}" destId="{862F260E-CBAC-484B-82D1-F9B85C4995A6}" srcOrd="1" destOrd="0" parTransId="{39CFC0C6-FE77-4E41-8D5C-2CFBD7285A50}" sibTransId="{24C3BE57-7981-4ADD-8C31-5A19DD64E84A}"/>
    <dgm:cxn modelId="{BB4A59DE-3E86-4287-8D2B-2492760C71E5}" type="presOf" srcId="{862F260E-CBAC-484B-82D1-F9B85C4995A6}" destId="{CA67DB91-BD35-4757-9D97-2DEFBEC0C57D}" srcOrd="0" destOrd="0" presId="urn:microsoft.com/office/officeart/2005/8/layout/chevron1"/>
    <dgm:cxn modelId="{20334A0A-A042-4689-BAC2-A36F124CC678}" srcId="{64DCAEC4-EBC0-4D24-916E-D38ABD7221BB}" destId="{4364891B-1561-485F-8885-623381ED5400}" srcOrd="4" destOrd="0" parTransId="{D113289C-9B3D-4302-A0BB-67D4C8E53EFF}" sibTransId="{3AB21CA7-F016-41C0-A0E3-36F8434C29F3}"/>
    <dgm:cxn modelId="{D6B22DEF-9213-44E0-85A9-8E86EE2DF2C4}" type="presOf" srcId="{FEDAD1FE-B0B0-4746-89DC-154B9403D3FC}" destId="{493017FB-3761-4939-B913-DADC5DE3A20B}" srcOrd="0" destOrd="0" presId="urn:microsoft.com/office/officeart/2005/8/layout/chevron1"/>
    <dgm:cxn modelId="{D240B3EF-6CE0-4C13-A013-E1469D98A8AB}" srcId="{862F260E-CBAC-484B-82D1-F9B85C4995A6}" destId="{64FA0A95-5E15-44C9-A5AB-716D6B11A0DF}" srcOrd="0" destOrd="0" parTransId="{C744E8A5-09C4-4B85-9185-88771E3492A0}" sibTransId="{C83452B1-20B6-4CB5-BAA6-58AB1E0C170C}"/>
    <dgm:cxn modelId="{30FBA7D6-F8E0-4DEE-BC24-62C1A9035B2F}" type="presOf" srcId="{683C5656-9562-4F29-BB88-FB61D7D121E4}" destId="{70D0D2CC-E1B9-4BAF-902B-BB30B1E8C5C5}" srcOrd="0" destOrd="0" presId="urn:microsoft.com/office/officeart/2005/8/layout/chevron1"/>
    <dgm:cxn modelId="{9443EDBF-A7F3-4870-9BE3-35DC0B9A6796}" type="presOf" srcId="{85AD0FCE-7641-4B12-A73E-160B8D73DD1A}" destId="{6B5DD153-8F33-4074-A548-37E2A0C06D61}" srcOrd="0" destOrd="0" presId="urn:microsoft.com/office/officeart/2005/8/layout/chevron1"/>
    <dgm:cxn modelId="{10B6C06B-431A-4059-9272-F430E0AD45C1}" srcId="{64DCAEC4-EBC0-4D24-916E-D38ABD7221BB}" destId="{FEDAD1FE-B0B0-4746-89DC-154B9403D3FC}" srcOrd="2" destOrd="0" parTransId="{4E891D60-4F23-4141-8B32-EF3248052668}" sibTransId="{C9DC4431-78AF-4441-B0D9-7033472A0C37}"/>
    <dgm:cxn modelId="{7D99912C-7391-48E2-A78B-06E00922A434}" type="presOf" srcId="{524CE19E-19F5-488A-AE23-C539F33436FB}" destId="{9D5C6CE6-AFC6-4C85-8FA2-553B79E44CC0}" srcOrd="0" destOrd="0" presId="urn:microsoft.com/office/officeart/2005/8/layout/chevron1"/>
    <dgm:cxn modelId="{4C6F22C6-D502-4A89-AE84-C573D06FE9EB}" type="presOf" srcId="{1EC88A5D-A607-466E-A86C-A284FD70E6B5}" destId="{EA434A79-DAE4-4EAE-BFB1-C4A581C6C4CB}" srcOrd="0" destOrd="0" presId="urn:microsoft.com/office/officeart/2005/8/layout/chevron1"/>
    <dgm:cxn modelId="{51D51A62-6CFA-4C51-A035-4868C0D51F75}" srcId="{4364891B-1561-485F-8885-623381ED5400}" destId="{683C5656-9562-4F29-BB88-FB61D7D121E4}" srcOrd="0" destOrd="0" parTransId="{C0C7ABF7-4F4A-4075-B1DD-FC680E7F3AB1}" sibTransId="{71EA6A58-A4C9-4C0D-A57E-B0D1F8A39E03}"/>
    <dgm:cxn modelId="{E922445B-BED9-4D9B-9B11-A06C59586FE4}" type="presOf" srcId="{4364891B-1561-485F-8885-623381ED5400}" destId="{4DFA2FBF-2F28-4675-B175-CA90F1C93144}" srcOrd="0" destOrd="0" presId="urn:microsoft.com/office/officeart/2005/8/layout/chevron1"/>
    <dgm:cxn modelId="{9CD5420A-367F-4216-B980-C727FCDC3BDB}" srcId="{85AD0FCE-7641-4B12-A73E-160B8D73DD1A}" destId="{524CE19E-19F5-488A-AE23-C539F33436FB}" srcOrd="0" destOrd="0" parTransId="{A85886FC-7EE9-4C73-80EF-7531F42C98D9}" sibTransId="{6F57586A-30BE-4591-8DDC-4F97F9B9E37F}"/>
    <dgm:cxn modelId="{78A7DD39-7238-432E-928C-67602D157A1F}" srcId="{64DCAEC4-EBC0-4D24-916E-D38ABD7221BB}" destId="{1EC88A5D-A607-466E-A86C-A284FD70E6B5}" srcOrd="0" destOrd="0" parTransId="{C6CE8611-E5C5-48FA-AD56-0DD855D5C6FF}" sibTransId="{D3AA2BEC-D2E7-4387-AE2A-4A02B4CAA281}"/>
    <dgm:cxn modelId="{85122E00-722D-490E-830C-E3A5F8E7A09C}" type="presOf" srcId="{ED02A2C3-DDA2-4322-A2C1-270A08D7D6AB}" destId="{BF7AA3B0-A784-42C5-BA24-3954EFD7074B}" srcOrd="0" destOrd="0" presId="urn:microsoft.com/office/officeart/2005/8/layout/chevron1"/>
    <dgm:cxn modelId="{3B7B023C-DFDB-4A3F-BC5D-24959ABD62E3}" srcId="{FEDAD1FE-B0B0-4746-89DC-154B9403D3FC}" destId="{A140B7BA-4B6C-44B7-B720-9CA9C0C2B79C}" srcOrd="0" destOrd="0" parTransId="{2A158322-0681-4763-A81D-8D51599DBDE9}" sibTransId="{D8740F63-EA42-4597-A11A-90BF616485A4}"/>
    <dgm:cxn modelId="{3D0B86FE-2906-4525-BD14-7C8A1519B578}" srcId="{1EC88A5D-A607-466E-A86C-A284FD70E6B5}" destId="{ED02A2C3-DDA2-4322-A2C1-270A08D7D6AB}" srcOrd="0" destOrd="0" parTransId="{9A79B8C4-2286-4799-8F23-ACCE8BB90ACC}" sibTransId="{8AE343B6-8CC9-4E74-BBCE-8B3B636E468A}"/>
    <dgm:cxn modelId="{FF5FC61D-B1DE-4FE1-B1BB-9DE91CB1E714}" type="presOf" srcId="{64FA0A95-5E15-44C9-A5AB-716D6B11A0DF}" destId="{54D7C9C5-80D3-4C64-9B9F-406002F8E36D}" srcOrd="0" destOrd="0" presId="urn:microsoft.com/office/officeart/2005/8/layout/chevron1"/>
    <dgm:cxn modelId="{8C2E0391-FD4D-44A5-AAFE-D5DED21E3D62}" srcId="{64DCAEC4-EBC0-4D24-916E-D38ABD7221BB}" destId="{85AD0FCE-7641-4B12-A73E-160B8D73DD1A}" srcOrd="3" destOrd="0" parTransId="{77DE49C6-F5ED-4DF5-99ED-8D8B1E33360F}" sibTransId="{FAF6E0F9-EB32-4595-A5C4-0DB12470E668}"/>
    <dgm:cxn modelId="{82E19413-98F5-4277-90BD-837A428FE53B}" type="presOf" srcId="{A140B7BA-4B6C-44B7-B720-9CA9C0C2B79C}" destId="{4E25FB36-CF07-46F7-8141-ECB1ECFD9F3F}" srcOrd="0" destOrd="0" presId="urn:microsoft.com/office/officeart/2005/8/layout/chevron1"/>
    <dgm:cxn modelId="{D4CE7E29-8231-490E-95F5-BC15F2DB97D3}" type="presParOf" srcId="{2A3182FF-F8C3-47B1-AA55-B25EC493DA38}" destId="{799EA8A3-94B6-4BDC-A71F-2646F9AA7EA6}" srcOrd="0" destOrd="0" presId="urn:microsoft.com/office/officeart/2005/8/layout/chevron1"/>
    <dgm:cxn modelId="{07D0251A-9C8A-4C3C-8844-7CA7373746E6}" type="presParOf" srcId="{799EA8A3-94B6-4BDC-A71F-2646F9AA7EA6}" destId="{EA434A79-DAE4-4EAE-BFB1-C4A581C6C4CB}" srcOrd="0" destOrd="0" presId="urn:microsoft.com/office/officeart/2005/8/layout/chevron1"/>
    <dgm:cxn modelId="{AA79C72A-4D4C-4259-ABEE-E30ED5499730}" type="presParOf" srcId="{799EA8A3-94B6-4BDC-A71F-2646F9AA7EA6}" destId="{BF7AA3B0-A784-42C5-BA24-3954EFD7074B}" srcOrd="1" destOrd="0" presId="urn:microsoft.com/office/officeart/2005/8/layout/chevron1"/>
    <dgm:cxn modelId="{378CB487-C9FC-44B1-AD16-28FDCAB27766}" type="presParOf" srcId="{2A3182FF-F8C3-47B1-AA55-B25EC493DA38}" destId="{AB23E2DA-244C-4187-8769-A79F20B60B1F}" srcOrd="1" destOrd="0" presId="urn:microsoft.com/office/officeart/2005/8/layout/chevron1"/>
    <dgm:cxn modelId="{B2B3D244-C05F-4709-B380-4981E00FCC14}" type="presParOf" srcId="{2A3182FF-F8C3-47B1-AA55-B25EC493DA38}" destId="{36A8860E-B551-4CE5-94ED-ABF749AA3198}" srcOrd="2" destOrd="0" presId="urn:microsoft.com/office/officeart/2005/8/layout/chevron1"/>
    <dgm:cxn modelId="{94D77929-D8E7-4885-B256-FB35C1160BE3}" type="presParOf" srcId="{36A8860E-B551-4CE5-94ED-ABF749AA3198}" destId="{CA67DB91-BD35-4757-9D97-2DEFBEC0C57D}" srcOrd="0" destOrd="0" presId="urn:microsoft.com/office/officeart/2005/8/layout/chevron1"/>
    <dgm:cxn modelId="{3EED893C-9F76-4F35-A8CF-CB070441FAC9}" type="presParOf" srcId="{36A8860E-B551-4CE5-94ED-ABF749AA3198}" destId="{54D7C9C5-80D3-4C64-9B9F-406002F8E36D}" srcOrd="1" destOrd="0" presId="urn:microsoft.com/office/officeart/2005/8/layout/chevron1"/>
    <dgm:cxn modelId="{52FBC123-6B10-4FA3-91BF-BC8DE1A05EE6}" type="presParOf" srcId="{2A3182FF-F8C3-47B1-AA55-B25EC493DA38}" destId="{8181C460-D129-46CD-88BD-69B32F0C256B}" srcOrd="3" destOrd="0" presId="urn:microsoft.com/office/officeart/2005/8/layout/chevron1"/>
    <dgm:cxn modelId="{807D8DF9-A4AD-4593-BE1A-A23755A621CB}" type="presParOf" srcId="{2A3182FF-F8C3-47B1-AA55-B25EC493DA38}" destId="{C1A39731-6C8A-4A95-94C6-6562E65AE5A1}" srcOrd="4" destOrd="0" presId="urn:microsoft.com/office/officeart/2005/8/layout/chevron1"/>
    <dgm:cxn modelId="{FFB6660D-C6BA-4003-B3C2-13E19E8CBA6D}" type="presParOf" srcId="{C1A39731-6C8A-4A95-94C6-6562E65AE5A1}" destId="{493017FB-3761-4939-B913-DADC5DE3A20B}" srcOrd="0" destOrd="0" presId="urn:microsoft.com/office/officeart/2005/8/layout/chevron1"/>
    <dgm:cxn modelId="{B4E8A8D0-3EE2-457E-8DBE-D5E9629DCA79}" type="presParOf" srcId="{C1A39731-6C8A-4A95-94C6-6562E65AE5A1}" destId="{4E25FB36-CF07-46F7-8141-ECB1ECFD9F3F}" srcOrd="1" destOrd="0" presId="urn:microsoft.com/office/officeart/2005/8/layout/chevron1"/>
    <dgm:cxn modelId="{28BAE00D-D113-4F44-B2B9-B4344F92537C}" type="presParOf" srcId="{2A3182FF-F8C3-47B1-AA55-B25EC493DA38}" destId="{D98B31CA-A6CC-4CE3-9249-7A913F68B366}" srcOrd="5" destOrd="0" presId="urn:microsoft.com/office/officeart/2005/8/layout/chevron1"/>
    <dgm:cxn modelId="{108A2254-87BB-4E44-983A-0BB86E90DE5B}" type="presParOf" srcId="{2A3182FF-F8C3-47B1-AA55-B25EC493DA38}" destId="{8F1C3BB1-2D67-4ED9-AA13-A8F2340E84BF}" srcOrd="6" destOrd="0" presId="urn:microsoft.com/office/officeart/2005/8/layout/chevron1"/>
    <dgm:cxn modelId="{56D4DA5A-B3E3-469E-948C-739659B0A808}" type="presParOf" srcId="{8F1C3BB1-2D67-4ED9-AA13-A8F2340E84BF}" destId="{6B5DD153-8F33-4074-A548-37E2A0C06D61}" srcOrd="0" destOrd="0" presId="urn:microsoft.com/office/officeart/2005/8/layout/chevron1"/>
    <dgm:cxn modelId="{48475ABA-9951-4499-98F3-90EAA8A21E95}" type="presParOf" srcId="{8F1C3BB1-2D67-4ED9-AA13-A8F2340E84BF}" destId="{9D5C6CE6-AFC6-4C85-8FA2-553B79E44CC0}" srcOrd="1" destOrd="0" presId="urn:microsoft.com/office/officeart/2005/8/layout/chevron1"/>
    <dgm:cxn modelId="{1F995476-A7F2-418C-ADF1-4A4EB9C1AC4B}" type="presParOf" srcId="{2A3182FF-F8C3-47B1-AA55-B25EC493DA38}" destId="{1A0F7061-3536-4C69-925D-F620453D8E25}" srcOrd="7" destOrd="0" presId="urn:microsoft.com/office/officeart/2005/8/layout/chevron1"/>
    <dgm:cxn modelId="{94AE0BB1-6489-4503-8E18-50EA995AF2B9}" type="presParOf" srcId="{2A3182FF-F8C3-47B1-AA55-B25EC493DA38}" destId="{DFC4F836-3438-49AD-A78C-756BBEB9D352}" srcOrd="8" destOrd="0" presId="urn:microsoft.com/office/officeart/2005/8/layout/chevron1"/>
    <dgm:cxn modelId="{980BA568-F66C-418A-93A0-85D75FE124A5}" type="presParOf" srcId="{DFC4F836-3438-49AD-A78C-756BBEB9D352}" destId="{4DFA2FBF-2F28-4675-B175-CA90F1C93144}" srcOrd="0" destOrd="0" presId="urn:microsoft.com/office/officeart/2005/8/layout/chevron1"/>
    <dgm:cxn modelId="{97C979BD-7AD3-4A9E-BE31-09138C22135B}" type="presParOf" srcId="{DFC4F836-3438-49AD-A78C-756BBEB9D352}" destId="{70D0D2CC-E1B9-4BAF-902B-BB30B1E8C5C5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34A79-DAE4-4EAE-BFB1-C4A581C6C4CB}">
      <dsp:nvSpPr>
        <dsp:cNvPr id="0" name=""/>
        <dsp:cNvSpPr/>
      </dsp:nvSpPr>
      <dsp:spPr>
        <a:xfrm>
          <a:off x="4081" y="1869231"/>
          <a:ext cx="1786607" cy="54000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lan</a:t>
          </a:r>
          <a:endParaRPr lang="en-US" sz="1000" kern="1200" dirty="0"/>
        </a:p>
      </dsp:txBody>
      <dsp:txXfrm>
        <a:off x="274081" y="1869231"/>
        <a:ext cx="1246607" cy="540000"/>
      </dsp:txXfrm>
    </dsp:sp>
    <dsp:sp modelId="{BF7AA3B0-A784-42C5-BA24-3954EFD7074B}">
      <dsp:nvSpPr>
        <dsp:cNvPr id="0" name=""/>
        <dsp:cNvSpPr/>
      </dsp:nvSpPr>
      <dsp:spPr>
        <a:xfrm>
          <a:off x="4081" y="2476731"/>
          <a:ext cx="142928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smtClean="0"/>
            <a:t>9/16/2020~9/30/2020</a:t>
          </a:r>
          <a:endParaRPr lang="en-US" sz="1000" kern="1200" dirty="0" smtClean="0"/>
        </a:p>
      </dsp:txBody>
      <dsp:txXfrm>
        <a:off x="4081" y="2476731"/>
        <a:ext cx="1429285" cy="180000"/>
      </dsp:txXfrm>
    </dsp:sp>
    <dsp:sp modelId="{CA67DB91-BD35-4757-9D97-2DEFBEC0C57D}">
      <dsp:nvSpPr>
        <dsp:cNvPr id="0" name=""/>
        <dsp:cNvSpPr/>
      </dsp:nvSpPr>
      <dsp:spPr>
        <a:xfrm>
          <a:off x="1574689" y="1869231"/>
          <a:ext cx="1786607" cy="540000"/>
        </a:xfrm>
        <a:prstGeom prst="chevron">
          <a:avLst/>
        </a:prstGeom>
        <a:solidFill>
          <a:schemeClr val="accent5">
            <a:hueOff val="-3867180"/>
            <a:satOff val="-7767"/>
            <a:lumOff val="-235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esign</a:t>
          </a:r>
          <a:endParaRPr lang="en-US" sz="1000" kern="1200" dirty="0"/>
        </a:p>
      </dsp:txBody>
      <dsp:txXfrm>
        <a:off x="1844689" y="1869231"/>
        <a:ext cx="1246607" cy="540000"/>
      </dsp:txXfrm>
    </dsp:sp>
    <dsp:sp modelId="{54D7C9C5-80D3-4C64-9B9F-406002F8E36D}">
      <dsp:nvSpPr>
        <dsp:cNvPr id="0" name=""/>
        <dsp:cNvSpPr/>
      </dsp:nvSpPr>
      <dsp:spPr>
        <a:xfrm>
          <a:off x="1574689" y="2476731"/>
          <a:ext cx="142928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smtClean="0"/>
            <a:t>10/8/2020~10/24/2020</a:t>
          </a:r>
          <a:endParaRPr lang="en-US" sz="1000" kern="1200" dirty="0"/>
        </a:p>
      </dsp:txBody>
      <dsp:txXfrm>
        <a:off x="1574689" y="2476731"/>
        <a:ext cx="1429285" cy="180000"/>
      </dsp:txXfrm>
    </dsp:sp>
    <dsp:sp modelId="{493017FB-3761-4939-B913-DADC5DE3A20B}">
      <dsp:nvSpPr>
        <dsp:cNvPr id="0" name=""/>
        <dsp:cNvSpPr/>
      </dsp:nvSpPr>
      <dsp:spPr>
        <a:xfrm>
          <a:off x="3145296" y="1869231"/>
          <a:ext cx="1786607" cy="540000"/>
        </a:xfrm>
        <a:prstGeom prst="chevron">
          <a:avLst/>
        </a:prstGeom>
        <a:solidFill>
          <a:schemeClr val="accent5">
            <a:hueOff val="-7734360"/>
            <a:satOff val="-15534"/>
            <a:lumOff val="-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evelop</a:t>
          </a:r>
          <a:endParaRPr lang="en-US" sz="1000" kern="1200" dirty="0"/>
        </a:p>
      </dsp:txBody>
      <dsp:txXfrm>
        <a:off x="3415296" y="1869231"/>
        <a:ext cx="1246607" cy="540000"/>
      </dsp:txXfrm>
    </dsp:sp>
    <dsp:sp modelId="{4E25FB36-CF07-46F7-8141-ECB1ECFD9F3F}">
      <dsp:nvSpPr>
        <dsp:cNvPr id="0" name=""/>
        <dsp:cNvSpPr/>
      </dsp:nvSpPr>
      <dsp:spPr>
        <a:xfrm>
          <a:off x="3145296" y="2476731"/>
          <a:ext cx="142928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smtClean="0"/>
            <a:t>10/12/2020~12/5/2020</a:t>
          </a:r>
          <a:endParaRPr lang="en-US" sz="1000" kern="1200" dirty="0"/>
        </a:p>
      </dsp:txBody>
      <dsp:txXfrm>
        <a:off x="3145296" y="2476731"/>
        <a:ext cx="1429285" cy="180000"/>
      </dsp:txXfrm>
    </dsp:sp>
    <dsp:sp modelId="{6B5DD153-8F33-4074-A548-37E2A0C06D61}">
      <dsp:nvSpPr>
        <dsp:cNvPr id="0" name=""/>
        <dsp:cNvSpPr/>
      </dsp:nvSpPr>
      <dsp:spPr>
        <a:xfrm>
          <a:off x="4715903" y="1869231"/>
          <a:ext cx="1786607" cy="540000"/>
        </a:xfrm>
        <a:prstGeom prst="chevron">
          <a:avLst/>
        </a:prstGeom>
        <a:solidFill>
          <a:schemeClr val="accent5">
            <a:hueOff val="-11601541"/>
            <a:satOff val="-23301"/>
            <a:lumOff val="-7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Verify</a:t>
          </a:r>
          <a:endParaRPr lang="en-US" sz="1000" kern="1200" dirty="0"/>
        </a:p>
      </dsp:txBody>
      <dsp:txXfrm>
        <a:off x="4985903" y="1869231"/>
        <a:ext cx="1246607" cy="540000"/>
      </dsp:txXfrm>
    </dsp:sp>
    <dsp:sp modelId="{9D5C6CE6-AFC6-4C85-8FA2-553B79E44CC0}">
      <dsp:nvSpPr>
        <dsp:cNvPr id="0" name=""/>
        <dsp:cNvSpPr/>
      </dsp:nvSpPr>
      <dsp:spPr>
        <a:xfrm>
          <a:off x="4715903" y="2476731"/>
          <a:ext cx="142928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smtClean="0"/>
            <a:t>12/6/2020~12/23/2020</a:t>
          </a:r>
          <a:endParaRPr lang="en-US" sz="1000" kern="1200" dirty="0"/>
        </a:p>
      </dsp:txBody>
      <dsp:txXfrm>
        <a:off x="4715903" y="2476731"/>
        <a:ext cx="1429285" cy="180000"/>
      </dsp:txXfrm>
    </dsp:sp>
    <dsp:sp modelId="{4DFA2FBF-2F28-4675-B175-CA90F1C93144}">
      <dsp:nvSpPr>
        <dsp:cNvPr id="0" name=""/>
        <dsp:cNvSpPr/>
      </dsp:nvSpPr>
      <dsp:spPr>
        <a:xfrm>
          <a:off x="6286510" y="1869231"/>
          <a:ext cx="1786607" cy="540000"/>
        </a:xfrm>
        <a:prstGeom prst="chevron">
          <a:avLst/>
        </a:prstGeom>
        <a:solidFill>
          <a:schemeClr val="accent5">
            <a:hueOff val="-15468721"/>
            <a:satOff val="-31068"/>
            <a:lumOff val="-941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Release</a:t>
          </a:r>
          <a:endParaRPr lang="en-US" sz="1000" kern="1200" dirty="0"/>
        </a:p>
      </dsp:txBody>
      <dsp:txXfrm>
        <a:off x="6556510" y="1869231"/>
        <a:ext cx="1246607" cy="540000"/>
      </dsp:txXfrm>
    </dsp:sp>
    <dsp:sp modelId="{70D0D2CC-E1B9-4BAF-902B-BB30B1E8C5C5}">
      <dsp:nvSpPr>
        <dsp:cNvPr id="0" name=""/>
        <dsp:cNvSpPr/>
      </dsp:nvSpPr>
      <dsp:spPr>
        <a:xfrm>
          <a:off x="6286510" y="2476731"/>
          <a:ext cx="142928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smtClean="0"/>
            <a:t>12/23/2020~12/31/2020</a:t>
          </a:r>
          <a:endParaRPr lang="en-US" sz="1000" kern="1200" dirty="0"/>
        </a:p>
      </dsp:txBody>
      <dsp:txXfrm>
        <a:off x="6286510" y="2476731"/>
        <a:ext cx="1429285" cy="18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7525" y="344488"/>
            <a:ext cx="5822950" cy="4367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9534" y="4842373"/>
            <a:ext cx="5278933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24412" y="9540045"/>
            <a:ext cx="544055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68402" y="11074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" y="3246"/>
            <a:ext cx="9144000" cy="475059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737511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0" y="1709758"/>
            <a:ext cx="8165360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816127"/>
            <a:ext cx="327201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 smtClean="0"/>
              <a:t>■</a:t>
            </a:r>
            <a:endParaRPr lang="en-US" noProof="0" dirty="0"/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66" y="2194015"/>
            <a:ext cx="899613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67" y="2352750"/>
            <a:ext cx="258404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66" y="2513106"/>
            <a:ext cx="224580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6" y="5156014"/>
            <a:ext cx="638703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986" y="6189785"/>
            <a:ext cx="1307243" cy="62286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800" kern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kern="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872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3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1DFFE9-663D-4B6A-A2A1-B7E0C7D0BD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45447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image" Target="../media/image2.png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1254326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0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027985" y="257244"/>
            <a:ext cx="7928378" cy="55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br>
              <a:rPr lang="en-US" dirty="0" smtClean="0"/>
            </a:b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055229" y="99972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039989" y="559065"/>
            <a:ext cx="792837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548" y="6286309"/>
            <a:ext cx="88087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548" y="6599556"/>
            <a:ext cx="671764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19125" indent="-619125" defTabSz="913526">
              <a:tabLst>
                <a:tab pos="733425" algn="l"/>
              </a:tabLst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649869" y="1827243"/>
            <a:ext cx="830649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405701"/>
            <a:ext cx="4389768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206675" y="287598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98700" y="287598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8139833" y="287598"/>
            <a:ext cx="830430" cy="1306516"/>
            <a:chOff x="7875175" y="286625"/>
            <a:chExt cx="83043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 userDrawn="1"/>
        </p:nvGrpSpPr>
        <p:grpSpPr bwMode="auto">
          <a:xfrm>
            <a:off x="7903368" y="287598"/>
            <a:ext cx="1066895" cy="212366"/>
            <a:chOff x="7673880" y="285750"/>
            <a:chExt cx="106689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6270421" y="769502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Arc 10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CustomIcon">
            <a:extLst>
              <a:ext uri="{FF2B5EF4-FFF2-40B4-BE49-F238E27FC236}">
                <a16:creationId xmlns:a16="http://schemas.microsoft.com/office/drawing/2014/main" id="{F9578E0A-A54B-4817-8060-83BB8DFF6D4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>
          <a:xfrm>
            <a:off x="175633" y="140903"/>
            <a:ext cx="474237" cy="471099"/>
            <a:chOff x="-3175" y="3175"/>
            <a:chExt cx="1200150" cy="1192213"/>
          </a:xfrm>
          <a:solidFill>
            <a:schemeClr val="bg1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0316B28-CF23-4CE1-B987-435E67E78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25" y="465138"/>
              <a:ext cx="541338" cy="268288"/>
            </a:xfrm>
            <a:custGeom>
              <a:avLst/>
              <a:gdLst>
                <a:gd name="T0" fmla="*/ 183 w 192"/>
                <a:gd name="T1" fmla="*/ 0 h 95"/>
                <a:gd name="T2" fmla="*/ 9 w 192"/>
                <a:gd name="T3" fmla="*/ 0 h 95"/>
                <a:gd name="T4" fmla="*/ 0 w 192"/>
                <a:gd name="T5" fmla="*/ 9 h 95"/>
                <a:gd name="T6" fmla="*/ 0 w 192"/>
                <a:gd name="T7" fmla="*/ 86 h 95"/>
                <a:gd name="T8" fmla="*/ 9 w 192"/>
                <a:gd name="T9" fmla="*/ 95 h 95"/>
                <a:gd name="T10" fmla="*/ 183 w 192"/>
                <a:gd name="T11" fmla="*/ 95 h 95"/>
                <a:gd name="T12" fmla="*/ 192 w 192"/>
                <a:gd name="T13" fmla="*/ 86 h 95"/>
                <a:gd name="T14" fmla="*/ 192 w 192"/>
                <a:gd name="T15" fmla="*/ 9 h 95"/>
                <a:gd name="T16" fmla="*/ 183 w 192"/>
                <a:gd name="T17" fmla="*/ 0 h 95"/>
                <a:gd name="T18" fmla="*/ 174 w 192"/>
                <a:gd name="T19" fmla="*/ 77 h 95"/>
                <a:gd name="T20" fmla="*/ 18 w 192"/>
                <a:gd name="T21" fmla="*/ 77 h 95"/>
                <a:gd name="T22" fmla="*/ 18 w 192"/>
                <a:gd name="T23" fmla="*/ 18 h 95"/>
                <a:gd name="T24" fmla="*/ 174 w 192"/>
                <a:gd name="T25" fmla="*/ 18 h 95"/>
                <a:gd name="T26" fmla="*/ 174 w 192"/>
                <a:gd name="T27" fmla="*/ 77 h 95"/>
                <a:gd name="T28" fmla="*/ 174 w 192"/>
                <a:gd name="T29" fmla="*/ 7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5">
                  <a:moveTo>
                    <a:pt x="18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183" y="95"/>
                    <a:pt x="183" y="95"/>
                    <a:pt x="183" y="95"/>
                  </a:cubicBezTo>
                  <a:cubicBezTo>
                    <a:pt x="188" y="95"/>
                    <a:pt x="192" y="91"/>
                    <a:pt x="192" y="86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3"/>
                    <a:pt x="188" y="0"/>
                    <a:pt x="183" y="0"/>
                  </a:cubicBezTo>
                  <a:close/>
                  <a:moveTo>
                    <a:pt x="174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77"/>
                    <a:pt x="174" y="77"/>
                    <a:pt x="174" y="77"/>
                  </a:cubicBezTo>
                  <a:cubicBezTo>
                    <a:pt x="174" y="77"/>
                    <a:pt x="174" y="77"/>
                    <a:pt x="1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C145949B-A0F3-4562-9ED8-A9614105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5" y="3175"/>
              <a:ext cx="1200150" cy="1192213"/>
            </a:xfrm>
            <a:custGeom>
              <a:avLst/>
              <a:gdLst>
                <a:gd name="T0" fmla="*/ 426 w 426"/>
                <a:gd name="T1" fmla="*/ 172 h 423"/>
                <a:gd name="T2" fmla="*/ 365 w 426"/>
                <a:gd name="T3" fmla="*/ 163 h 423"/>
                <a:gd name="T4" fmla="*/ 417 w 426"/>
                <a:gd name="T5" fmla="*/ 102 h 423"/>
                <a:gd name="T6" fmla="*/ 417 w 426"/>
                <a:gd name="T7" fmla="*/ 84 h 423"/>
                <a:gd name="T8" fmla="*/ 365 w 426"/>
                <a:gd name="T9" fmla="*/ 68 h 423"/>
                <a:gd name="T10" fmla="*/ 339 w 426"/>
                <a:gd name="T11" fmla="*/ 59 h 423"/>
                <a:gd name="T12" fmla="*/ 330 w 426"/>
                <a:gd name="T13" fmla="*/ 0 h 423"/>
                <a:gd name="T14" fmla="*/ 321 w 426"/>
                <a:gd name="T15" fmla="*/ 59 h 423"/>
                <a:gd name="T16" fmla="*/ 260 w 426"/>
                <a:gd name="T17" fmla="*/ 9 h 423"/>
                <a:gd name="T18" fmla="*/ 242 w 426"/>
                <a:gd name="T19" fmla="*/ 9 h 423"/>
                <a:gd name="T20" fmla="*/ 182 w 426"/>
                <a:gd name="T21" fmla="*/ 59 h 423"/>
                <a:gd name="T22" fmla="*/ 173 w 426"/>
                <a:gd name="T23" fmla="*/ 0 h 423"/>
                <a:gd name="T24" fmla="*/ 164 w 426"/>
                <a:gd name="T25" fmla="*/ 59 h 423"/>
                <a:gd name="T26" fmla="*/ 103 w 426"/>
                <a:gd name="T27" fmla="*/ 9 h 423"/>
                <a:gd name="T28" fmla="*/ 85 w 426"/>
                <a:gd name="T29" fmla="*/ 9 h 423"/>
                <a:gd name="T30" fmla="*/ 70 w 426"/>
                <a:gd name="T31" fmla="*/ 59 h 423"/>
                <a:gd name="T32" fmla="*/ 61 w 426"/>
                <a:gd name="T33" fmla="*/ 84 h 423"/>
                <a:gd name="T34" fmla="*/ 0 w 426"/>
                <a:gd name="T35" fmla="*/ 93 h 423"/>
                <a:gd name="T36" fmla="*/ 61 w 426"/>
                <a:gd name="T37" fmla="*/ 102 h 423"/>
                <a:gd name="T38" fmla="*/ 9 w 426"/>
                <a:gd name="T39" fmla="*/ 163 h 423"/>
                <a:gd name="T40" fmla="*/ 9 w 426"/>
                <a:gd name="T41" fmla="*/ 181 h 423"/>
                <a:gd name="T42" fmla="*/ 61 w 426"/>
                <a:gd name="T43" fmla="*/ 242 h 423"/>
                <a:gd name="T44" fmla="*/ 0 w 426"/>
                <a:gd name="T45" fmla="*/ 251 h 423"/>
                <a:gd name="T46" fmla="*/ 61 w 426"/>
                <a:gd name="T47" fmla="*/ 260 h 423"/>
                <a:gd name="T48" fmla="*/ 9 w 426"/>
                <a:gd name="T49" fmla="*/ 321 h 423"/>
                <a:gd name="T50" fmla="*/ 9 w 426"/>
                <a:gd name="T51" fmla="*/ 339 h 423"/>
                <a:gd name="T52" fmla="*/ 61 w 426"/>
                <a:gd name="T53" fmla="*/ 355 h 423"/>
                <a:gd name="T54" fmla="*/ 85 w 426"/>
                <a:gd name="T55" fmla="*/ 364 h 423"/>
                <a:gd name="T56" fmla="*/ 94 w 426"/>
                <a:gd name="T57" fmla="*/ 423 h 423"/>
                <a:gd name="T58" fmla="*/ 103 w 426"/>
                <a:gd name="T59" fmla="*/ 364 h 423"/>
                <a:gd name="T60" fmla="*/ 164 w 426"/>
                <a:gd name="T61" fmla="*/ 414 h 423"/>
                <a:gd name="T62" fmla="*/ 182 w 426"/>
                <a:gd name="T63" fmla="*/ 414 h 423"/>
                <a:gd name="T64" fmla="*/ 242 w 426"/>
                <a:gd name="T65" fmla="*/ 364 h 423"/>
                <a:gd name="T66" fmla="*/ 251 w 426"/>
                <a:gd name="T67" fmla="*/ 423 h 423"/>
                <a:gd name="T68" fmla="*/ 260 w 426"/>
                <a:gd name="T69" fmla="*/ 364 h 423"/>
                <a:gd name="T70" fmla="*/ 321 w 426"/>
                <a:gd name="T71" fmla="*/ 414 h 423"/>
                <a:gd name="T72" fmla="*/ 339 w 426"/>
                <a:gd name="T73" fmla="*/ 414 h 423"/>
                <a:gd name="T74" fmla="*/ 356 w 426"/>
                <a:gd name="T75" fmla="*/ 364 h 423"/>
                <a:gd name="T76" fmla="*/ 365 w 426"/>
                <a:gd name="T77" fmla="*/ 339 h 423"/>
                <a:gd name="T78" fmla="*/ 426 w 426"/>
                <a:gd name="T79" fmla="*/ 330 h 423"/>
                <a:gd name="T80" fmla="*/ 365 w 426"/>
                <a:gd name="T81" fmla="*/ 321 h 423"/>
                <a:gd name="T82" fmla="*/ 417 w 426"/>
                <a:gd name="T83" fmla="*/ 260 h 423"/>
                <a:gd name="T84" fmla="*/ 417 w 426"/>
                <a:gd name="T85" fmla="*/ 242 h 423"/>
                <a:gd name="T86" fmla="*/ 365 w 426"/>
                <a:gd name="T87" fmla="*/ 181 h 423"/>
                <a:gd name="T88" fmla="*/ 417 w 426"/>
                <a:gd name="T89" fmla="*/ 181 h 423"/>
                <a:gd name="T90" fmla="*/ 79 w 426"/>
                <a:gd name="T91" fmla="*/ 346 h 423"/>
                <a:gd name="T92" fmla="*/ 348 w 426"/>
                <a:gd name="T93" fmla="*/ 77 h 423"/>
                <a:gd name="T94" fmla="*/ 348 w 426"/>
                <a:gd name="T95" fmla="*/ 34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6" h="423">
                  <a:moveTo>
                    <a:pt x="417" y="181"/>
                  </a:moveTo>
                  <a:cubicBezTo>
                    <a:pt x="422" y="181"/>
                    <a:pt x="426" y="177"/>
                    <a:pt x="426" y="172"/>
                  </a:cubicBezTo>
                  <a:cubicBezTo>
                    <a:pt x="426" y="167"/>
                    <a:pt x="422" y="163"/>
                    <a:pt x="417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417" y="102"/>
                    <a:pt x="417" y="102"/>
                    <a:pt x="417" y="102"/>
                  </a:cubicBezTo>
                  <a:cubicBezTo>
                    <a:pt x="422" y="102"/>
                    <a:pt x="426" y="98"/>
                    <a:pt x="426" y="93"/>
                  </a:cubicBezTo>
                  <a:cubicBezTo>
                    <a:pt x="426" y="88"/>
                    <a:pt x="422" y="84"/>
                    <a:pt x="417" y="84"/>
                  </a:cubicBezTo>
                  <a:cubicBezTo>
                    <a:pt x="365" y="84"/>
                    <a:pt x="365" y="84"/>
                    <a:pt x="365" y="84"/>
                  </a:cubicBezTo>
                  <a:cubicBezTo>
                    <a:pt x="365" y="68"/>
                    <a:pt x="365" y="68"/>
                    <a:pt x="365" y="68"/>
                  </a:cubicBezTo>
                  <a:cubicBezTo>
                    <a:pt x="365" y="63"/>
                    <a:pt x="361" y="59"/>
                    <a:pt x="356" y="59"/>
                  </a:cubicBezTo>
                  <a:cubicBezTo>
                    <a:pt x="339" y="59"/>
                    <a:pt x="339" y="59"/>
                    <a:pt x="339" y="59"/>
                  </a:cubicBezTo>
                  <a:cubicBezTo>
                    <a:pt x="339" y="9"/>
                    <a:pt x="339" y="9"/>
                    <a:pt x="339" y="9"/>
                  </a:cubicBezTo>
                  <a:cubicBezTo>
                    <a:pt x="339" y="3"/>
                    <a:pt x="335" y="0"/>
                    <a:pt x="330" y="0"/>
                  </a:cubicBezTo>
                  <a:cubicBezTo>
                    <a:pt x="325" y="0"/>
                    <a:pt x="321" y="3"/>
                    <a:pt x="321" y="9"/>
                  </a:cubicBezTo>
                  <a:cubicBezTo>
                    <a:pt x="321" y="59"/>
                    <a:pt x="321" y="59"/>
                    <a:pt x="321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9"/>
                    <a:pt x="260" y="9"/>
                    <a:pt x="260" y="9"/>
                  </a:cubicBezTo>
                  <a:cubicBezTo>
                    <a:pt x="260" y="3"/>
                    <a:pt x="257" y="0"/>
                    <a:pt x="251" y="0"/>
                  </a:cubicBezTo>
                  <a:cubicBezTo>
                    <a:pt x="247" y="0"/>
                    <a:pt x="242" y="3"/>
                    <a:pt x="242" y="9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2" y="3"/>
                    <a:pt x="178" y="0"/>
                    <a:pt x="173" y="0"/>
                  </a:cubicBezTo>
                  <a:cubicBezTo>
                    <a:pt x="168" y="0"/>
                    <a:pt x="164" y="3"/>
                    <a:pt x="164" y="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3"/>
                    <a:pt x="99" y="0"/>
                    <a:pt x="94" y="0"/>
                  </a:cubicBezTo>
                  <a:cubicBezTo>
                    <a:pt x="89" y="0"/>
                    <a:pt x="85" y="3"/>
                    <a:pt x="85" y="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5" y="59"/>
                    <a:pt x="61" y="63"/>
                    <a:pt x="61" y="68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98"/>
                    <a:pt x="4" y="102"/>
                    <a:pt x="9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4" y="163"/>
                    <a:pt x="0" y="167"/>
                    <a:pt x="0" y="172"/>
                  </a:cubicBezTo>
                  <a:cubicBezTo>
                    <a:pt x="0" y="177"/>
                    <a:pt x="4" y="181"/>
                    <a:pt x="9" y="181"/>
                  </a:cubicBezTo>
                  <a:cubicBezTo>
                    <a:pt x="61" y="181"/>
                    <a:pt x="61" y="181"/>
                    <a:pt x="61" y="181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9" y="242"/>
                    <a:pt x="9" y="242"/>
                    <a:pt x="9" y="242"/>
                  </a:cubicBezTo>
                  <a:cubicBezTo>
                    <a:pt x="4" y="242"/>
                    <a:pt x="0" y="246"/>
                    <a:pt x="0" y="251"/>
                  </a:cubicBezTo>
                  <a:cubicBezTo>
                    <a:pt x="0" y="256"/>
                    <a:pt x="4" y="260"/>
                    <a:pt x="9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1" y="321"/>
                    <a:pt x="61" y="321"/>
                    <a:pt x="61" y="321"/>
                  </a:cubicBezTo>
                  <a:cubicBezTo>
                    <a:pt x="9" y="321"/>
                    <a:pt x="9" y="321"/>
                    <a:pt x="9" y="321"/>
                  </a:cubicBezTo>
                  <a:cubicBezTo>
                    <a:pt x="4" y="321"/>
                    <a:pt x="0" y="325"/>
                    <a:pt x="0" y="330"/>
                  </a:cubicBezTo>
                  <a:cubicBezTo>
                    <a:pt x="0" y="335"/>
                    <a:pt x="4" y="339"/>
                    <a:pt x="9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1" y="355"/>
                    <a:pt x="61" y="355"/>
                    <a:pt x="61" y="355"/>
                  </a:cubicBezTo>
                  <a:cubicBezTo>
                    <a:pt x="61" y="359"/>
                    <a:pt x="65" y="364"/>
                    <a:pt x="70" y="364"/>
                  </a:cubicBezTo>
                  <a:cubicBezTo>
                    <a:pt x="85" y="364"/>
                    <a:pt x="85" y="364"/>
                    <a:pt x="85" y="364"/>
                  </a:cubicBezTo>
                  <a:cubicBezTo>
                    <a:pt x="85" y="414"/>
                    <a:pt x="85" y="414"/>
                    <a:pt x="85" y="414"/>
                  </a:cubicBezTo>
                  <a:cubicBezTo>
                    <a:pt x="85" y="420"/>
                    <a:pt x="89" y="423"/>
                    <a:pt x="94" y="423"/>
                  </a:cubicBezTo>
                  <a:cubicBezTo>
                    <a:pt x="99" y="423"/>
                    <a:pt x="103" y="420"/>
                    <a:pt x="103" y="414"/>
                  </a:cubicBezTo>
                  <a:cubicBezTo>
                    <a:pt x="103" y="364"/>
                    <a:pt x="103" y="364"/>
                    <a:pt x="103" y="364"/>
                  </a:cubicBezTo>
                  <a:cubicBezTo>
                    <a:pt x="164" y="364"/>
                    <a:pt x="164" y="364"/>
                    <a:pt x="164" y="364"/>
                  </a:cubicBezTo>
                  <a:cubicBezTo>
                    <a:pt x="164" y="414"/>
                    <a:pt x="164" y="414"/>
                    <a:pt x="164" y="414"/>
                  </a:cubicBezTo>
                  <a:cubicBezTo>
                    <a:pt x="164" y="420"/>
                    <a:pt x="168" y="423"/>
                    <a:pt x="173" y="423"/>
                  </a:cubicBezTo>
                  <a:cubicBezTo>
                    <a:pt x="178" y="423"/>
                    <a:pt x="182" y="420"/>
                    <a:pt x="182" y="414"/>
                  </a:cubicBezTo>
                  <a:cubicBezTo>
                    <a:pt x="182" y="364"/>
                    <a:pt x="182" y="364"/>
                    <a:pt x="182" y="364"/>
                  </a:cubicBezTo>
                  <a:cubicBezTo>
                    <a:pt x="242" y="364"/>
                    <a:pt x="242" y="364"/>
                    <a:pt x="242" y="364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2" y="420"/>
                    <a:pt x="247" y="423"/>
                    <a:pt x="251" y="423"/>
                  </a:cubicBezTo>
                  <a:cubicBezTo>
                    <a:pt x="257" y="423"/>
                    <a:pt x="260" y="420"/>
                    <a:pt x="260" y="414"/>
                  </a:cubicBezTo>
                  <a:cubicBezTo>
                    <a:pt x="260" y="364"/>
                    <a:pt x="260" y="364"/>
                    <a:pt x="260" y="364"/>
                  </a:cubicBezTo>
                  <a:cubicBezTo>
                    <a:pt x="321" y="364"/>
                    <a:pt x="321" y="364"/>
                    <a:pt x="321" y="364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21" y="420"/>
                    <a:pt x="325" y="423"/>
                    <a:pt x="330" y="423"/>
                  </a:cubicBezTo>
                  <a:cubicBezTo>
                    <a:pt x="335" y="423"/>
                    <a:pt x="339" y="420"/>
                    <a:pt x="339" y="414"/>
                  </a:cubicBezTo>
                  <a:cubicBezTo>
                    <a:pt x="339" y="364"/>
                    <a:pt x="339" y="364"/>
                    <a:pt x="339" y="364"/>
                  </a:cubicBezTo>
                  <a:cubicBezTo>
                    <a:pt x="356" y="364"/>
                    <a:pt x="356" y="364"/>
                    <a:pt x="356" y="364"/>
                  </a:cubicBezTo>
                  <a:cubicBezTo>
                    <a:pt x="361" y="364"/>
                    <a:pt x="365" y="359"/>
                    <a:pt x="365" y="355"/>
                  </a:cubicBezTo>
                  <a:cubicBezTo>
                    <a:pt x="365" y="339"/>
                    <a:pt x="365" y="339"/>
                    <a:pt x="365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2" y="339"/>
                    <a:pt x="426" y="335"/>
                    <a:pt x="426" y="330"/>
                  </a:cubicBezTo>
                  <a:cubicBezTo>
                    <a:pt x="426" y="325"/>
                    <a:pt x="422" y="321"/>
                    <a:pt x="417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260"/>
                    <a:pt x="365" y="260"/>
                    <a:pt x="365" y="260"/>
                  </a:cubicBezTo>
                  <a:cubicBezTo>
                    <a:pt x="417" y="260"/>
                    <a:pt x="417" y="260"/>
                    <a:pt x="417" y="260"/>
                  </a:cubicBezTo>
                  <a:cubicBezTo>
                    <a:pt x="422" y="260"/>
                    <a:pt x="426" y="256"/>
                    <a:pt x="426" y="251"/>
                  </a:cubicBezTo>
                  <a:cubicBezTo>
                    <a:pt x="426" y="246"/>
                    <a:pt x="422" y="242"/>
                    <a:pt x="417" y="242"/>
                  </a:cubicBezTo>
                  <a:cubicBezTo>
                    <a:pt x="365" y="242"/>
                    <a:pt x="365" y="242"/>
                    <a:pt x="365" y="242"/>
                  </a:cubicBezTo>
                  <a:cubicBezTo>
                    <a:pt x="365" y="181"/>
                    <a:pt x="365" y="181"/>
                    <a:pt x="365" y="181"/>
                  </a:cubicBezTo>
                  <a:cubicBezTo>
                    <a:pt x="417" y="181"/>
                    <a:pt x="417" y="181"/>
                    <a:pt x="417" y="181"/>
                  </a:cubicBezTo>
                  <a:cubicBezTo>
                    <a:pt x="417" y="181"/>
                    <a:pt x="417" y="181"/>
                    <a:pt x="417" y="181"/>
                  </a:cubicBezTo>
                  <a:close/>
                  <a:moveTo>
                    <a:pt x="348" y="346"/>
                  </a:moveTo>
                  <a:cubicBezTo>
                    <a:pt x="79" y="346"/>
                    <a:pt x="79" y="346"/>
                    <a:pt x="79" y="346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348" y="77"/>
                    <a:pt x="348" y="77"/>
                    <a:pt x="348" y="77"/>
                  </a:cubicBezTo>
                  <a:cubicBezTo>
                    <a:pt x="348" y="346"/>
                    <a:pt x="348" y="346"/>
                    <a:pt x="348" y="346"/>
                  </a:cubicBezTo>
                  <a:cubicBezTo>
                    <a:pt x="348" y="346"/>
                    <a:pt x="348" y="346"/>
                    <a:pt x="34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圖片 3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4615">
            <a:off x="207166" y="167681"/>
            <a:ext cx="541542" cy="541542"/>
          </a:xfrm>
          <a:prstGeom prst="rect">
            <a:avLst/>
          </a:prstGeom>
        </p:spPr>
      </p:pic>
      <p:sp>
        <p:nvSpPr>
          <p:cNvPr id="5" name="文字方塊 4"/>
          <p:cNvSpPr txBox="1"/>
          <p:nvPr userDrawn="1"/>
        </p:nvSpPr>
        <p:spPr>
          <a:xfrm>
            <a:off x="95564" y="6522430"/>
            <a:ext cx="1826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b="1" dirty="0" err="1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1200" b="1" dirty="0" smtClea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1200" b="1" dirty="0"/>
          </a:p>
        </p:txBody>
      </p:sp>
      <p:pic>
        <p:nvPicPr>
          <p:cNvPr id="109" name="圖片 108"/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9"/>
          <a:stretch/>
        </p:blipFill>
        <p:spPr>
          <a:xfrm>
            <a:off x="7607189" y="6305075"/>
            <a:ext cx="1307243" cy="537159"/>
          </a:xfrm>
          <a:prstGeom prst="rect">
            <a:avLst/>
          </a:prstGeom>
        </p:spPr>
      </p:pic>
      <p:sp>
        <p:nvSpPr>
          <p:cNvPr id="110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6570671"/>
            <a:ext cx="533400" cy="381000"/>
          </a:xfrm>
        </p:spPr>
        <p:txBody>
          <a:bodyPr/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30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648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28016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302FCA-1F23-46C4-A998-E2C6384889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9695E-BA87-4ADD-AAB6-C7944E5AA16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3200" b="1" dirty="0" err="1">
              <a:solidFill>
                <a:schemeClr val="tx1"/>
              </a:solidFill>
              <a:latin typeface="+mn-ea"/>
              <a:cs typeface="+mj-cs"/>
              <a:sym typeface="+mn-ea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4169302" y="4876471"/>
            <a:ext cx="4655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/>
          <a:p>
            <a:pPr algn="r"/>
            <a:r>
              <a:rPr lang="en-US" altLang="zh-TW" sz="2800" dirty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80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93608" y="1978742"/>
            <a:ext cx="76200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1572" tIns="50786" rIns="101572" bIns="50786" anchor="ctr"/>
          <a:lstStyle>
            <a:lvl1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1pPr>
            <a:lvl2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2pPr>
            <a:lvl3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3pPr>
            <a:lvl4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4pPr>
            <a:lvl5pPr algn="ctr"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2"/>
                </a:solidFill>
                <a:latin typeface="Helvetica 55 Roman" pitchFamily="34" charset="0"/>
                <a:ea typeface="新細明體" charset="-120"/>
              </a:defRPr>
            </a:lvl9pPr>
          </a:lstStyle>
          <a:p>
            <a:pPr algn="l">
              <a:lnSpc>
                <a:spcPct val="115000"/>
              </a:lnSpc>
            </a:pPr>
            <a:r>
              <a:rPr lang="en-US" altLang="zh-CN" sz="40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OI Storage System</a:t>
            </a:r>
            <a:endParaRPr lang="zh-TW" altLang="en-US" sz="4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9" name="群組 8"/>
          <p:cNvGrpSpPr>
            <a:grpSpLocks/>
          </p:cNvGrpSpPr>
          <p:nvPr/>
        </p:nvGrpSpPr>
        <p:grpSpPr bwMode="auto">
          <a:xfrm>
            <a:off x="1381104" y="2950083"/>
            <a:ext cx="7605713" cy="60325"/>
            <a:chOff x="533400" y="2724150"/>
            <a:chExt cx="8153400" cy="45719"/>
          </a:xfrm>
        </p:grpSpPr>
        <p:cxnSp>
          <p:nvCxnSpPr>
            <p:cNvPr id="11" name="直線接點 10"/>
            <p:cNvCxnSpPr/>
            <p:nvPr/>
          </p:nvCxnSpPr>
          <p:spPr bwMode="auto">
            <a:xfrm>
              <a:off x="533400" y="2695660"/>
              <a:ext cx="8153400" cy="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gradFill flip="none" rotWithShape="1">
                <a:gsLst>
                  <a:gs pos="4000">
                    <a:srgbClr val="1BAAA4"/>
                  </a:gs>
                  <a:gs pos="93000">
                    <a:schemeClr val="bg1"/>
                  </a:gs>
                </a:gsLst>
                <a:lin ang="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" name="矩形 15"/>
            <p:cNvSpPr>
              <a:spLocks/>
            </p:cNvSpPr>
            <p:nvPr/>
          </p:nvSpPr>
          <p:spPr bwMode="auto">
            <a:xfrm>
              <a:off x="533400" y="2724150"/>
              <a:ext cx="1447800" cy="45719"/>
            </a:xfrm>
            <a:custGeom>
              <a:avLst/>
              <a:gdLst>
                <a:gd name="T0" fmla="*/ 0 w 1447800"/>
                <a:gd name="T1" fmla="*/ 0 h 139831"/>
                <a:gd name="T2" fmla="*/ 1447800 w 1447800"/>
                <a:gd name="T3" fmla="*/ 0 h 139831"/>
                <a:gd name="T4" fmla="*/ 1382225 w 1447800"/>
                <a:gd name="T5" fmla="*/ 171 h 139831"/>
                <a:gd name="T6" fmla="*/ 0 w 1447800"/>
                <a:gd name="T7" fmla="*/ 171 h 139831"/>
                <a:gd name="T8" fmla="*/ 0 w 1447800"/>
                <a:gd name="T9" fmla="*/ 0 h 1398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47800" h="139831">
                  <a:moveTo>
                    <a:pt x="0" y="0"/>
                  </a:moveTo>
                  <a:lnTo>
                    <a:pt x="1447800" y="0"/>
                  </a:lnTo>
                  <a:lnTo>
                    <a:pt x="1382225" y="139831"/>
                  </a:lnTo>
                  <a:lnTo>
                    <a:pt x="0" y="139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BAA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TW" altLang="en-US"/>
            </a:p>
          </p:txBody>
        </p:sp>
      </p:grpSp>
      <p:sp>
        <p:nvSpPr>
          <p:cNvPr id="13" name="文字方塊 12"/>
          <p:cNvSpPr txBox="1"/>
          <p:nvPr/>
        </p:nvSpPr>
        <p:spPr>
          <a:xfrm>
            <a:off x="644770" y="3489883"/>
            <a:ext cx="1532792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dirty="0" smtClean="0">
                <a:solidFill>
                  <a:schemeClr val="bg2"/>
                </a:solidFill>
              </a:rPr>
              <a:t>∎</a:t>
            </a:r>
            <a:r>
              <a:rPr lang="en-US" altLang="zh-CN" sz="1800" b="1" dirty="0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Sam Kwok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  <p:sp>
        <p:nvSpPr>
          <p:cNvPr id="14" name="文字方塊 12"/>
          <p:cNvSpPr txBox="1"/>
          <p:nvPr/>
        </p:nvSpPr>
        <p:spPr>
          <a:xfrm>
            <a:off x="644770" y="3889678"/>
            <a:ext cx="1391728" cy="4045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25000"/>
              </a:lnSpc>
              <a:spcBef>
                <a:spcPct val="20000"/>
              </a:spcBef>
            </a:pPr>
            <a:r>
              <a:rPr lang="zh-TW" altLang="en-US" sz="1800" smtClean="0">
                <a:solidFill>
                  <a:schemeClr val="bg2"/>
                </a:solidFill>
              </a:rPr>
              <a:t>∎</a:t>
            </a:r>
            <a:r>
              <a:rPr lang="en-US" altLang="zh-TW" sz="1800" b="1" smtClean="0">
                <a:solidFill>
                  <a:schemeClr val="bg2"/>
                </a:solidFill>
                <a:latin typeface="Arial" panose="020B0604020202020204" pitchFamily="34" charset="0"/>
                <a:ea typeface="細明體" pitchFamily="49" charset="-120"/>
                <a:cs typeface="Arial" panose="020B0604020202020204" pitchFamily="34" charset="0"/>
              </a:rPr>
              <a:t>2020/9/30</a:t>
            </a:r>
            <a:endParaRPr lang="en-US" altLang="en-US" sz="1800" b="1" dirty="0">
              <a:solidFill>
                <a:schemeClr val="bg2"/>
              </a:solidFill>
              <a:latin typeface="Arial" panose="020B0604020202020204" pitchFamily="34" charset="0"/>
              <a:ea typeface="細明體" pitchFamily="49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72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Improve Milesto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graphicFrame>
        <p:nvGraphicFramePr>
          <p:cNvPr id="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5622287"/>
              </p:ext>
            </p:extLst>
          </p:nvPr>
        </p:nvGraphicFramePr>
        <p:xfrm>
          <a:off x="381000" y="1382529"/>
          <a:ext cx="80772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35105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1.00000000000000000000E+00&quot;&gt;&lt;m_msothmcolidx val=&quot;0&quot;/&gt;&lt;m_rgb r=&quot;70&quot; g=&quot;AE&quot; b=&quot;0A&quot;/&gt;&lt;m_nBrightness tagver0=&quot;26206&quot; tagname0=&quot;m_nBrightnessUNRECOGNIZED&quot; val=&quot;0&quot;/&gt;&lt;/elem&gt;&lt;elem m_fUsage=&quot;9.00000000000000022204E-01&quot;&gt;&lt;m_msothmcolidx val=&quot;0&quot;/&gt;&lt;m_rgb r=&quot;7E&quot; g=&quot;C5&quot; b=&quot;0B&quot;/&gt;&lt;m_nBrightness tagver0=&quot;26206&quot; tagname0=&quot;m_nBrightnessUNRECOGNIZED&quot; val=&quot;0&quot;/&gt;&lt;/elem&gt;&lt;elem m_fUsage=&quot;8.10000000000000053291E-01&quot;&gt;&lt;m_msothmcolidx val=&quot;0&quot;/&gt;&lt;m_rgb r=&quot;82&quot; g=&quot;CB&quot; b=&quot;0B&quot;/&gt;&lt;m_nBrightness tagver0=&quot;26206&quot; tagname0=&quot;m_nBrightnessUNRECOGNIZED&quot; val=&quot;0&quot;/&gt;&lt;/elem&gt;&lt;elem m_fUsage=&quot;7.29000000000000092371E-01&quot;&gt;&lt;m_msothmcolidx val=&quot;0&quot;/&gt;&lt;m_rgb r=&quot;33&quot; g=&quot;AE&quot; b=&quot;B8&quot;/&gt;&lt;m_nBrightness tagver0=&quot;26206&quot; tagname0=&quot;m_nBrightnessUNRECOGNIZED&quot; val=&quot;0&quot;/&gt;&lt;/elem&gt;&lt;elem m_fUsage=&quot;7.21918138199084347129E-01&quot;&gt;&lt;m_msothmcolidx val=&quot;0&quot;/&gt;&lt;m_rgb r=&quot;66&quot; g=&quot;66&quot; b=&quot;66&quot;/&gt;&lt;m_nBrightness tagver0=&quot;26206&quot; tagname0=&quot;m_nBrightnessUNRECOGNIZED&quot; val=&quot;0&quot;/&gt;&lt;/elem&gt;&lt;elem m_fUsage=&quot;6.56100000000000127542E-01&quot;&gt;&lt;m_msothmcolidx val=&quot;0&quot;/&gt;&lt;m_rgb r=&quot;66&quot; g=&quot;9D&quot; b=&quot;C8&quot;/&gt;&lt;m_nBrightness tagver0=&quot;26206&quot; tagname0=&quot;m_nBrightnessUNRECOGNIZED&quot; val=&quot;0&quot;/&gt;&lt;/elem&gt;&lt;elem m_fUsage=&quot;5.90490000000000181402E-01&quot;&gt;&lt;m_msothmcolidx val=&quot;0&quot;/&gt;&lt;m_rgb r=&quot;47&quot; g=&quot;A6&quot; b=&quot;D2&quot;/&gt;&lt;m_nBrightness tagver0=&quot;26206&quot; tagname0=&quot;m_nBrightnessUNRECOGNIZED&quot; val=&quot;0&quot;/&gt;&lt;/elem&gt;&lt;elem m_fUsage=&quot;5.31441000000000163261E-01&quot;&gt;&lt;m_msothmcolidx val=&quot;0&quot;/&gt;&lt;m_rgb r=&quot;47&quot; g=&quot;B1&quot; b=&quot;78&quot;/&gt;&lt;m_nBrightness tagver0=&quot;26206&quot; tagname0=&quot;m_nBrightnessUNRECOGNIZED&quot; val=&quot;0&quot;/&gt;&lt;/elem&gt;&lt;elem m_fUsage=&quot;4.78296900000000135833E-01&quot;&gt;&lt;m_msothmcolidx val=&quot;0&quot;/&gt;&lt;m_rgb r=&quot;40&quot; g=&quot;AE&quot; b=&quot;73&quot;/&gt;&lt;m_nBrightness tagver0=&quot;26206&quot; tagname0=&quot;m_nBrightnessUNRECOGNIZED&quot; val=&quot;0&quot;/&gt;&lt;/elem&gt;&lt;elem m_fUsage=&quot;4.30467210000000155556E-01&quot;&gt;&lt;m_msothmcolidx val=&quot;0&quot;/&gt;&lt;m_rgb r=&quot;77&quot; g=&quot;96&quot; b=&quot;BB&quot;/&gt;&lt;m_nBrightness tagver0=&quot;26206&quot; tagname0=&quot;m_nBrightnessUNRECOGNIZED&quot; val=&quot;0&quot;/&gt;&lt;/elem&gt;&lt;elem m_fUsage=&quot;3.87420489000000145552E-01&quot;&gt;&lt;m_msothmcolidx val=&quot;0&quot;/&gt;&lt;m_rgb r=&quot;7A&quot; g=&quot;95&quot; b=&quot;BC&quot;/&gt;&lt;m_nBrightness tagver0=&quot;26206&quot; tagname0=&quot;m_nBrightnessUNRECOGNIZED&quot; val=&quot;0&quot;/&gt;&lt;/elem&gt;&lt;elem m_fUsage=&quot;3.48678440100000153201E-01&quot;&gt;&lt;m_msothmcolidx val=&quot;0&quot;/&gt;&lt;m_rgb r=&quot;52&quot; g=&quot;9E&quot; b=&quot;D4&quot;/&gt;&lt;m_nBrightness tagver0=&quot;26206&quot; tagname0=&quot;m_nBrightnessUNRECOGNIZED&quot; val=&quot;0&quot;/&gt;&lt;/elem&gt;&lt;elem m_fUsage=&quot;3.13810596090000171188E-01&quot;&gt;&lt;m_msothmcolidx val=&quot;0&quot;/&gt;&lt;m_rgb r=&quot;F2&quot; g=&quot;7F&quot; b=&quot;00&quot;/&gt;&lt;m_nBrightness tagver0=&quot;26206&quot; tagname0=&quot;m_nBrightnessUNRECOGNIZED&quot; val=&quot;0&quot;/&gt;&lt;/elem&gt;&lt;elem m_fUsage=&quot;2.28767924549610118801E-01&quot;&gt;&lt;m_msothmcolidx val=&quot;0&quot;/&gt;&lt;m_rgb r=&quot;CD&quot; g=&quot;20&quot; b=&quot;2C&quot;/&gt;&lt;m_nBrightness tagver0=&quot;26206&quot; tagname0=&quot;m_nBrightnessUNRECOGNIZED&quot; val=&quot;0&quot;/&gt;&lt;/elem&gt;&lt;elem m_fUsage=&quot;2.05891132094649098594E-01&quot;&gt;&lt;m_msothmcolidx val=&quot;0&quot;/&gt;&lt;m_rgb r=&quot;A3&quot; g=&quot;B3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ColorBoldText"/>
  <p:tag name="PREVIOUSNAME" val="C:\Users\Denise Lee\Desktop\WT Presentation 0305 2019_vF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uJcRsTJuDgzKSUDgj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FqWhhVSpGsg1uTGFju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TN_CF">
  <a:themeElements>
    <a:clrScheme name="Custom">
      <a:dk1>
        <a:srgbClr val="000000"/>
      </a:dk1>
      <a:lt1>
        <a:srgbClr val="FFFFFF"/>
      </a:lt1>
      <a:dk2>
        <a:srgbClr val="046580"/>
      </a:dk2>
      <a:lt2>
        <a:srgbClr val="FFFFFF"/>
      </a:lt2>
      <a:accent1>
        <a:srgbClr val="BEE97A"/>
      </a:accent1>
      <a:accent2>
        <a:srgbClr val="7FC70B"/>
      </a:accent2>
      <a:accent3>
        <a:srgbClr val="00A199"/>
      </a:accent3>
      <a:accent4>
        <a:srgbClr val="046580"/>
      </a:accent4>
      <a:accent5>
        <a:srgbClr val="8B78B8"/>
      </a:accent5>
      <a:accent6>
        <a:srgbClr val="808080"/>
      </a:accent6>
      <a:hlink>
        <a:srgbClr val="00A199"/>
      </a:hlink>
      <a:folHlink>
        <a:srgbClr val="0465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46580"/>
        </a:dk2>
        <a:lt2>
          <a:srgbClr val="FFFFFF"/>
        </a:lt2>
        <a:accent1>
          <a:srgbClr val="BEE97A"/>
        </a:accent1>
        <a:accent2>
          <a:srgbClr val="7FC70B"/>
        </a:accent2>
        <a:accent3>
          <a:srgbClr val="00A199"/>
        </a:accent3>
        <a:accent4>
          <a:srgbClr val="046580"/>
        </a:accent4>
        <a:accent5>
          <a:srgbClr val="8B78B8"/>
        </a:accent5>
        <a:accent6>
          <a:srgbClr val="808080"/>
        </a:accent6>
        <a:hlink>
          <a:srgbClr val="00A199"/>
        </a:hlink>
        <a:folHlink>
          <a:srgbClr val="04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TN_CF.potx" id="{85EAAC63-AE50-46F6-85AE-2AAC22EDEE60}" vid="{E47A8F2D-3E6E-437C-B6CE-37AF7C7D02C1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TN_CF</Template>
  <TotalTime>0</TotalTime>
  <Words>23</Words>
  <Application>Microsoft Office PowerPoint</Application>
  <PresentationFormat>如螢幕大小 (4:3)</PresentationFormat>
  <Paragraphs>16</Paragraphs>
  <Slides>2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4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</vt:i4>
      </vt:variant>
    </vt:vector>
  </HeadingPairs>
  <TitlesOfParts>
    <vt:vector size="8" baseType="lpstr">
      <vt:lpstr>Helvetica-Bold</vt:lpstr>
      <vt:lpstr>細明體</vt:lpstr>
      <vt:lpstr>Microsoft YaHei</vt:lpstr>
      <vt:lpstr>Arial</vt:lpstr>
      <vt:lpstr>WITN_CF</vt:lpstr>
      <vt:lpstr>think-cell Slide</vt:lpstr>
      <vt:lpstr>Wistron Technologies </vt:lpstr>
      <vt:lpstr>Improve Milestone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2-18T04:09:24Z</dcterms:created>
  <dcterms:modified xsi:type="dcterms:W3CDTF">2020-09-30T05:58:53Z</dcterms:modified>
  <dc:language/>
  <cp:version/>
</cp:coreProperties>
</file>